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277" r:id="rId3"/>
    <p:sldId id="299" r:id="rId4"/>
    <p:sldId id="307" r:id="rId5"/>
    <p:sldId id="306" r:id="rId6"/>
    <p:sldId id="309" r:id="rId7"/>
    <p:sldId id="308" r:id="rId8"/>
    <p:sldId id="310" r:id="rId9"/>
    <p:sldId id="311" r:id="rId10"/>
    <p:sldId id="314" r:id="rId11"/>
    <p:sldId id="312" r:id="rId12"/>
    <p:sldId id="315" r:id="rId13"/>
    <p:sldId id="313" r:id="rId14"/>
    <p:sldId id="319" r:id="rId15"/>
    <p:sldId id="316" r:id="rId16"/>
    <p:sldId id="317" r:id="rId17"/>
    <p:sldId id="318" r:id="rId18"/>
    <p:sldId id="320" r:id="rId19"/>
    <p:sldId id="323" r:id="rId20"/>
    <p:sldId id="322" r:id="rId21"/>
    <p:sldId id="321" r:id="rId22"/>
    <p:sldId id="324" r:id="rId23"/>
    <p:sldId id="325" r:id="rId24"/>
    <p:sldId id="294" r:id="rId25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47" autoAdjust="0"/>
    <p:restoredTop sz="95974" autoAdjust="0"/>
  </p:normalViewPr>
  <p:slideViewPr>
    <p:cSldViewPr>
      <p:cViewPr varScale="1">
        <p:scale>
          <a:sx n="96" d="100"/>
          <a:sy n="96" d="100"/>
        </p:scale>
        <p:origin x="78" y="2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496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07.10.2019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  <a:p>
            <a:r>
              <a:rPr lang="de-AT" dirty="0" err="1"/>
              <a:t>Wahrscheinlichst</a:t>
            </a:r>
            <a:r>
              <a:rPr lang="de-AT" dirty="0"/>
              <a:t> die wesentliche C# Erweiterung,    2008   mit  C# 3.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588691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Ale </a:t>
            </a:r>
            <a:r>
              <a:rPr lang="de-AT" baseline="0" dirty="0" err="1"/>
              <a:t>Linq</a:t>
            </a:r>
            <a:r>
              <a:rPr lang="de-AT" baseline="0" dirty="0"/>
              <a:t> Erweiterungsmethoden arbeiten mit Collections,</a:t>
            </a:r>
          </a:p>
          <a:p>
            <a:r>
              <a:rPr lang="de-AT" baseline="0" dirty="0"/>
              <a:t>Meist wird eine Collection in eine andere Collection transferiert,</a:t>
            </a:r>
          </a:p>
          <a:p>
            <a:r>
              <a:rPr lang="de-AT" baseline="0" dirty="0"/>
              <a:t>Manchmal  (z.B. </a:t>
            </a:r>
            <a:r>
              <a:rPr lang="de-AT" baseline="0" dirty="0" err="1"/>
              <a:t>Sum</a:t>
            </a:r>
            <a:r>
              <a:rPr lang="de-AT" baseline="0" dirty="0"/>
              <a:t>) berechnet sich aus einer Input Collection ein Ausgabew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479953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t[] Num = { 1, 2, 3, 4, 5, 6, 7, 8, 9 };                                            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 in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um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t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collection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 &gt; 7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by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      // Ergebnis ist Collection&lt;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n;      //     mit Inhalt  9, 8</a:t>
            </a:r>
          </a:p>
          <a:p>
            <a:endParaRPr lang="de-AT" sz="12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AT" baseline="0" dirty="0"/>
          </a:p>
          <a:p>
            <a:endParaRPr lang="de-AT" baseline="0" dirty="0"/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r c1 = new List&lt;Employee&gt; { emp2, wemp2, semp2, man2 }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collection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st&lt;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ploye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 in c1      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ehal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gt; 10 &amp;&amp;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!= "Hugo"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by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Nam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eha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scending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select new {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Na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ehal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};       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tputcollection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onyme Klasse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753723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e ist sozusagen die Laufvariable (wie in </a:t>
            </a:r>
            <a:r>
              <a:rPr lang="de-AT" baseline="0" dirty="0" err="1"/>
              <a:t>foreach</a:t>
            </a:r>
            <a:r>
              <a:rPr lang="de-AT" baseline="0" dirty="0"/>
              <a:t>) mit einem </a:t>
            </a:r>
            <a:r>
              <a:rPr lang="de-AT" baseline="0" dirty="0" err="1"/>
              <a:t>scope</a:t>
            </a:r>
            <a:r>
              <a:rPr lang="de-AT" baseline="0" dirty="0"/>
              <a:t> innerhalb des </a:t>
            </a:r>
            <a:r>
              <a:rPr lang="de-AT" baseline="0" dirty="0" err="1"/>
              <a:t>Linq</a:t>
            </a:r>
            <a:r>
              <a:rPr lang="de-AT" baseline="0" dirty="0"/>
              <a:t> Statemen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876612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 err="1"/>
              <a:t>Join</a:t>
            </a:r>
            <a:r>
              <a:rPr lang="de-AT" baseline="0" dirty="0"/>
              <a:t> in </a:t>
            </a:r>
            <a:r>
              <a:rPr lang="de-AT" baseline="0" dirty="0" err="1"/>
              <a:t>Linq</a:t>
            </a:r>
            <a:r>
              <a:rPr lang="de-AT" baseline="0" dirty="0"/>
              <a:t> hat strenge Syntax</a:t>
            </a:r>
          </a:p>
          <a:p>
            <a:endParaRPr lang="de-AT" baseline="0" dirty="0"/>
          </a:p>
          <a:p>
            <a:r>
              <a:rPr lang="de-AT" baseline="0" dirty="0"/>
              <a:t>Referenzen können in beide Richtungen weis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597115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901501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Referenzen werden normal als Property gezeigt</a:t>
            </a:r>
          </a:p>
          <a:p>
            <a:endParaRPr lang="de-AT" baseline="0" dirty="0"/>
          </a:p>
          <a:p>
            <a:r>
              <a:rPr lang="de-AT" baseline="0" dirty="0"/>
              <a:t>Das </a:t>
            </a:r>
            <a:r>
              <a:rPr lang="de-AT" baseline="0" dirty="0" err="1"/>
              <a:t>class</a:t>
            </a:r>
            <a:r>
              <a:rPr lang="de-AT" baseline="0" dirty="0"/>
              <a:t> </a:t>
            </a:r>
            <a:r>
              <a:rPr lang="de-AT" baseline="0" dirty="0" err="1"/>
              <a:t>diagram</a:t>
            </a:r>
            <a:r>
              <a:rPr lang="de-AT" baseline="0" dirty="0"/>
              <a:t> ist in der Lage  einzelne Referenzen als einen Pfeil   (</a:t>
            </a:r>
            <a:r>
              <a:rPr lang="de-AT" baseline="0" dirty="0" err="1"/>
              <a:t>Schow</a:t>
            </a:r>
            <a:r>
              <a:rPr lang="de-AT" baseline="0" dirty="0"/>
              <a:t> </a:t>
            </a:r>
            <a:r>
              <a:rPr lang="de-AT" baseline="0" dirty="0" err="1"/>
              <a:t>as</a:t>
            </a:r>
            <a:r>
              <a:rPr lang="de-AT" baseline="0" dirty="0"/>
              <a:t> </a:t>
            </a:r>
            <a:r>
              <a:rPr lang="de-AT" baseline="0" dirty="0" err="1"/>
              <a:t>Assocation</a:t>
            </a:r>
            <a:r>
              <a:rPr lang="de-AT" baseline="0" dirty="0"/>
              <a:t>)</a:t>
            </a:r>
          </a:p>
          <a:p>
            <a:r>
              <a:rPr lang="de-AT" baseline="0" dirty="0"/>
              <a:t>   bzw. </a:t>
            </a:r>
            <a:r>
              <a:rPr lang="de-AT" baseline="0" dirty="0" err="1"/>
              <a:t>Referenzcollactions</a:t>
            </a:r>
            <a:r>
              <a:rPr lang="de-AT" baseline="0" dirty="0"/>
              <a:t> als Pfeil mit 2 Spitzen (</a:t>
            </a:r>
            <a:r>
              <a:rPr lang="de-AT" baseline="0" dirty="0" err="1"/>
              <a:t>Schow</a:t>
            </a:r>
            <a:r>
              <a:rPr lang="de-AT" baseline="0" dirty="0"/>
              <a:t> </a:t>
            </a:r>
            <a:r>
              <a:rPr lang="de-AT" baseline="0" dirty="0" err="1"/>
              <a:t>as</a:t>
            </a:r>
            <a:r>
              <a:rPr lang="de-AT" baseline="0" dirty="0"/>
              <a:t> Collection </a:t>
            </a:r>
            <a:r>
              <a:rPr lang="de-AT" baseline="0" dirty="0" err="1"/>
              <a:t>Assocation</a:t>
            </a:r>
            <a:r>
              <a:rPr lang="de-AT" baseline="0" dirty="0"/>
              <a:t>)</a:t>
            </a:r>
          </a:p>
          <a:p>
            <a:r>
              <a:rPr lang="de-AT" baseline="0" dirty="0"/>
              <a:t>a</a:t>
            </a:r>
            <a:r>
              <a:rPr lang="de-AT" baseline="0"/>
              <a:t>nzuzeigen</a:t>
            </a:r>
            <a:r>
              <a:rPr lang="de-AT" baseline="0" dirty="0"/>
              <a:t>, falls man dies einstellt</a:t>
            </a:r>
          </a:p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893541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913714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Bei Collections kann man nur </a:t>
            </a:r>
            <a:r>
              <a:rPr lang="de-AT" baseline="0" dirty="0" err="1"/>
              <a:t>Linq</a:t>
            </a:r>
            <a:r>
              <a:rPr lang="de-AT" baseline="0" dirty="0"/>
              <a:t> Methoden einsetzen, die mit der Collection auch arbeiten können</a:t>
            </a:r>
          </a:p>
          <a:p>
            <a:r>
              <a:rPr lang="de-AT" baseline="0" dirty="0"/>
              <a:t>  </a:t>
            </a:r>
            <a:r>
              <a:rPr lang="de-AT" baseline="0" dirty="0" err="1"/>
              <a:t>from</a:t>
            </a:r>
            <a:r>
              <a:rPr lang="de-AT" baseline="0" dirty="0"/>
              <a:t>       Any,  Al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339024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r erg1 = from b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pleData.Book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from r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select new {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};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rg = from b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pleData.Book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{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Titl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Ratings = (from r in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de-AT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  };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01752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rg1 = from b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pleData.Book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from r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= 2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select new {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Tit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};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rg = from b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mpleData.Book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.An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r =&gt;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= 2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{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Titl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Ratings = (from r in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.Reviews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.Rat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  };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05584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baseline="0" dirty="0"/>
              <a:t>Var   ist sehr simpel  der Compiler ermittelt den Typ wenn er kann</a:t>
            </a:r>
          </a:p>
          <a:p>
            <a:endParaRPr lang="de-AT" baseline="0" dirty="0"/>
          </a:p>
          <a:p>
            <a:r>
              <a:rPr lang="de-AT" baseline="0" dirty="0"/>
              <a:t>Erweiterungsmethoden sind die wirklich bedeutende Implementierungstechnik für </a:t>
            </a:r>
            <a:r>
              <a:rPr lang="de-AT" baseline="0" dirty="0" err="1"/>
              <a:t>Linq</a:t>
            </a:r>
            <a:endParaRPr lang="de-AT" baseline="0" dirty="0"/>
          </a:p>
          <a:p>
            <a:r>
              <a:rPr lang="de-AT" baseline="0" dirty="0"/>
              <a:t>            (wenn auch nur ein sehr cleverer Trick mit Compilerunterstützung)</a:t>
            </a:r>
          </a:p>
          <a:p>
            <a:r>
              <a:rPr lang="de-AT" baseline="0" dirty="0"/>
              <a:t>  </a:t>
            </a:r>
            <a:r>
              <a:rPr lang="de-AT" baseline="0" dirty="0" err="1"/>
              <a:t>Linq</a:t>
            </a:r>
            <a:r>
              <a:rPr lang="de-AT" baseline="0" dirty="0"/>
              <a:t> besteht technisch aus vielen Erweiterungsmethoden, welche  das Interface </a:t>
            </a:r>
            <a:r>
              <a:rPr lang="de-AT" baseline="0" dirty="0" err="1"/>
              <a:t>Ienumerable</a:t>
            </a:r>
            <a:r>
              <a:rPr lang="de-AT" baseline="0" dirty="0"/>
              <a:t> erweitern</a:t>
            </a:r>
          </a:p>
          <a:p>
            <a:endParaRPr lang="de-AT" baseline="0" dirty="0"/>
          </a:p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44063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353208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036943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807796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224676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57266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1 = "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th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; // Type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ntsteht durch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italisieru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s1 = 24;              // daher keine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Zuweisung möglich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aehle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          // kein Typ feststellbar   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yItNull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null; // null hat keinen Typ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Conditionally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condition ? 500 : "badger"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// kein eindeutiger Typ feststellbar 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51013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 = 1;           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genauer Int32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ha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34.20m;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imal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3.14;                 // double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rage = "Wer ist Hugo?";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ring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mfang = i * 3.14;         // double (Typ des  Ausdrucks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mp2 = new Employee();     // Employe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ferenz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c1 = new List&lt;Employee&gt;(); // List&lt;Employee&gt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// auch bei Arrays:</a:t>
            </a:r>
          </a:p>
          <a:p>
            <a:r>
              <a:rPr lang="nn-NO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Primes = new[] { 2, 3, 5, 7, 11, 13, 17, 19 }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                           //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] ( Int32[] 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// stat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Dictionary&lt;int, List&lt;int&gt;&gt; Example = new Dictionary&lt;int, List&lt;int&gt;&gt;(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// bequemer: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var Example2 = new Dictionary&lt;int, List&lt;int&gt;&gt;();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66324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String erhält eine  Reverse()  Methode ohne Parameter,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Angabe 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string input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lch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ssieh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arameter 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b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,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lch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ass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weiter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!!!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eziel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deutu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on this a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telle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ngemäß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Das this 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thod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tring u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r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inpu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gesprochen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t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tility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{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public static string Reverse(this string input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{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]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put.ToCharArray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ray.Reverse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turn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tring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r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}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}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04011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t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ckOps</a:t>
            </a:r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{   // Methoden für Stacks Push(wert) und Pop() bei List&lt;T&gt; erweitern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public static void Push&lt;T&gt;(this List&lt;T&gt;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T Value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{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.Add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Value)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}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tic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 Pop&lt;T&gt;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ist&lt;T&gt;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{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.Coun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= 0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  throw new Exception("Nothing to pop.");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int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stPo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.Cou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1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T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stPo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]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List.RemoveA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stPos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;</a:t>
            </a:r>
          </a:p>
          <a:p>
            <a:endParaRPr lang="de-A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turn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AT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lt</a:t>
            </a:r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}</a:t>
            </a:r>
          </a:p>
          <a:p>
            <a:r>
              <a:rPr lang="de-A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}</a:t>
            </a:r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36631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  <a:p>
            <a:r>
              <a:rPr lang="de-AT" baseline="0" dirty="0"/>
              <a:t>Return wird zu  =&gt;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88000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943581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78754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07.10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4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hcs.harvard.edu/csharp/Logo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1556792"/>
            <a:ext cx="4572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872208"/>
          </a:xfrm>
        </p:spPr>
        <p:txBody>
          <a:bodyPr>
            <a:normAutofit/>
          </a:bodyPr>
          <a:lstStyle/>
          <a:p>
            <a:r>
              <a:rPr lang="de-AT" dirty="0"/>
              <a:t>POS –  </a:t>
            </a:r>
            <a:r>
              <a:rPr lang="de-AT" dirty="0" err="1"/>
              <a:t>Linq</a:t>
            </a:r>
            <a:br>
              <a:rPr lang="de-AT" dirty="0"/>
            </a:br>
            <a:r>
              <a:rPr lang="en-US" dirty="0">
                <a:effectLst/>
              </a:rPr>
              <a:t>Language Integrated Query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907505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Ist technisch ein Menge Erweiterungsmethode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A86620D-5622-47F7-95A6-BD2CD5A679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756" y="1772816"/>
            <a:ext cx="8485714" cy="410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9206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Kann aber (teilweise) in bequemer Syntax geschrieben werden (angelehnt an SQL)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sz="2000" dirty="0"/>
          </a:p>
          <a:p>
            <a:r>
              <a:rPr lang="de-AT" dirty="0" err="1"/>
              <a:t>Eingabecollection</a:t>
            </a:r>
            <a:r>
              <a:rPr lang="de-AT" dirty="0"/>
              <a:t> </a:t>
            </a:r>
            <a:r>
              <a:rPr lang="de-AT" dirty="0">
                <a:sym typeface="Wingdings" panose="05000000000000000000" pitchFamily="2" charset="2"/>
              </a:rPr>
              <a:t></a:t>
            </a:r>
            <a:r>
              <a:rPr lang="de-AT" dirty="0"/>
              <a:t>  </a:t>
            </a:r>
            <a:r>
              <a:rPr lang="de-AT" dirty="0" err="1"/>
              <a:t>Ausgabecollection</a:t>
            </a: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D94C28E-C83F-4D82-B4DE-586B305810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2093859"/>
            <a:ext cx="6847619" cy="150476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5092578-F6A9-499E-894C-7A7EEC7677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5652" y="4149080"/>
            <a:ext cx="7352381" cy="20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7812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                     vergleichbar einem </a:t>
            </a:r>
            <a:r>
              <a:rPr lang="de-AT" dirty="0" err="1"/>
              <a:t>foreach</a:t>
            </a:r>
            <a:r>
              <a:rPr lang="de-AT" dirty="0"/>
              <a:t>, legt die Input-</a:t>
            </a:r>
            <a:br>
              <a:rPr lang="de-AT" dirty="0"/>
            </a:br>
            <a:r>
              <a:rPr lang="de-AT" dirty="0"/>
              <a:t>         Collection fest, mit e ist ein Element ansprechbar</a:t>
            </a:r>
          </a:p>
          <a:p>
            <a:r>
              <a:rPr lang="de-AT" dirty="0"/>
              <a:t>                               Selektion, reduziert Elementmenge</a:t>
            </a:r>
            <a:br>
              <a:rPr lang="de-AT" dirty="0"/>
            </a:br>
            <a:r>
              <a:rPr lang="de-AT" dirty="0"/>
              <a:t>                               Bedingungen wie in </a:t>
            </a:r>
            <a:r>
              <a:rPr lang="de-AT" dirty="0" err="1"/>
              <a:t>if</a:t>
            </a:r>
            <a:r>
              <a:rPr lang="de-AT" dirty="0"/>
              <a:t> möglich</a:t>
            </a:r>
          </a:p>
          <a:p>
            <a:r>
              <a:rPr lang="de-AT" dirty="0"/>
              <a:t>                                     sehr bequemes sortieren,</a:t>
            </a:r>
            <a:br>
              <a:rPr lang="de-AT" dirty="0"/>
            </a:br>
            <a:r>
              <a:rPr lang="de-AT" dirty="0"/>
              <a:t>                                     mehrere Felder, auf/absteigend</a:t>
            </a:r>
          </a:p>
          <a:p>
            <a:r>
              <a:rPr lang="de-AT" dirty="0"/>
              <a:t>                                                Projektion, legt Elemente</a:t>
            </a:r>
            <a:br>
              <a:rPr lang="de-AT" dirty="0"/>
            </a:br>
            <a:r>
              <a:rPr lang="de-AT" dirty="0"/>
              <a:t>                                                der Output Collection fest</a:t>
            </a:r>
          </a:p>
          <a:p>
            <a:endParaRPr lang="de-AT" dirty="0"/>
          </a:p>
          <a:p>
            <a:pPr marL="0" indent="0">
              <a:buNone/>
            </a:pP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5B7F310-E440-4216-9B00-0E828F6048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1268760"/>
            <a:ext cx="1476190" cy="27619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6ECC405-A69F-4414-86C0-5293B91E6B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133" y="2158734"/>
            <a:ext cx="2295238" cy="31428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F9B1B2B-E4ED-40CD-BFBD-F213BFD868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173" y="3114714"/>
            <a:ext cx="2857143" cy="31428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5246B46-33E3-400C-B511-A0E9DCDD5D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7173" y="4042784"/>
            <a:ext cx="3761905" cy="33333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E98238E-E6B4-491E-85F1-8B535FBEAA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7173" y="4917806"/>
            <a:ext cx="6190476" cy="66666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75CBF17-E7BB-4DFB-B5DD-1B74574E1F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8760" y="5666082"/>
            <a:ext cx="7771428" cy="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747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Verbinden mehrerer Instanzen (</a:t>
            </a:r>
            <a:r>
              <a:rPr lang="de-AT" dirty="0" err="1"/>
              <a:t>Join</a:t>
            </a:r>
            <a:r>
              <a:rPr lang="de-AT" dirty="0"/>
              <a:t> in SQL)</a:t>
            </a:r>
          </a:p>
          <a:p>
            <a:r>
              <a:rPr lang="de-AT" dirty="0" err="1"/>
              <a:t>Join</a:t>
            </a:r>
            <a:r>
              <a:rPr lang="de-AT" dirty="0"/>
              <a:t> existiert auch in </a:t>
            </a:r>
            <a:r>
              <a:rPr lang="de-AT" dirty="0" err="1"/>
              <a:t>Linq</a:t>
            </a:r>
            <a:r>
              <a:rPr lang="de-AT" dirty="0"/>
              <a:t> (nur nötig, wenn über Feldinhalte wie bei PK und FK </a:t>
            </a:r>
            <a:r>
              <a:rPr lang="de-AT" dirty="0" err="1"/>
              <a:t>gejoint</a:t>
            </a:r>
            <a:r>
              <a:rPr lang="de-AT" dirty="0"/>
              <a:t> wird).</a:t>
            </a:r>
          </a:p>
          <a:p>
            <a:r>
              <a:rPr lang="de-AT" dirty="0">
                <a:solidFill>
                  <a:srgbClr val="FF0000"/>
                </a:solidFill>
              </a:rPr>
              <a:t>Referenzen</a:t>
            </a:r>
            <a:r>
              <a:rPr lang="de-AT" dirty="0"/>
              <a:t> sind aber der bevorzugte Weg, Einzel-referenzen sehr bequem</a:t>
            </a:r>
            <a:br>
              <a:rPr lang="de-AT" dirty="0"/>
            </a:br>
            <a:r>
              <a:rPr lang="de-AT" dirty="0"/>
              <a:t>                     </a:t>
            </a:r>
          </a:p>
          <a:p>
            <a:pPr marL="0" indent="0">
              <a:buNone/>
            </a:pPr>
            <a:endParaRPr lang="de-AT" dirty="0"/>
          </a:p>
          <a:p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1DB97EF-3FA4-4A9E-97C4-DD2B18BB7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585" y="3599087"/>
            <a:ext cx="3547373" cy="155962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66C2CA0-6899-4B12-ACA4-84BA38EFF4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1702" y="3083061"/>
            <a:ext cx="4031532" cy="207573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71ADB3E-7D46-44F2-8F2D-9D4071C38D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3235" y="5420119"/>
            <a:ext cx="4560044" cy="86897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AF70323-A0B6-44A7-B95B-F713A2C5F8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585" y="5420119"/>
            <a:ext cx="3239351" cy="862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226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Bitte jetzt Übung1 im Visual Studio als Projekt starten</a:t>
            </a:r>
            <a:br>
              <a:rPr lang="de-AT" dirty="0"/>
            </a:br>
            <a:r>
              <a:rPr lang="de-AT" dirty="0"/>
              <a:t>bitte den Anleitungen in Angabe folgen</a:t>
            </a:r>
          </a:p>
          <a:p>
            <a:endParaRPr lang="de-AT" dirty="0"/>
          </a:p>
          <a:p>
            <a:r>
              <a:rPr lang="de-AT" dirty="0"/>
              <a:t>Ordner „</a:t>
            </a:r>
            <a:r>
              <a:rPr lang="de-AT" dirty="0" err="1"/>
              <a:t>Businessobjects</a:t>
            </a:r>
            <a:r>
              <a:rPr lang="de-AT" dirty="0"/>
              <a:t>“ enthält die einzelnen Klassen,</a:t>
            </a:r>
          </a:p>
          <a:p>
            <a:r>
              <a:rPr lang="de-AT" dirty="0" err="1"/>
              <a:t>SampleData.cs</a:t>
            </a:r>
            <a:r>
              <a:rPr lang="de-AT" dirty="0"/>
              <a:t> baut </a:t>
            </a:r>
            <a:r>
              <a:rPr lang="de-AT" dirty="0" err="1"/>
              <a:t>static</a:t>
            </a:r>
            <a:r>
              <a:rPr lang="de-AT" dirty="0"/>
              <a:t> Collections für alle Instanzen auf</a:t>
            </a:r>
          </a:p>
          <a:p>
            <a:r>
              <a:rPr lang="de-AT" dirty="0" err="1"/>
              <a:t>Objectdumper</a:t>
            </a:r>
            <a:r>
              <a:rPr lang="de-AT" dirty="0"/>
              <a:t> ist ein intelligenter Helfer, der </a:t>
            </a:r>
            <a:r>
              <a:rPr lang="de-AT" dirty="0" err="1"/>
              <a:t>Instanzinhalte</a:t>
            </a:r>
            <a:r>
              <a:rPr lang="de-AT" dirty="0"/>
              <a:t> bequem auflisten kan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722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Referenzen im Beispielprogramm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B5C0A52-66CD-4249-8B2D-7442B85924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429" y="1623547"/>
            <a:ext cx="9144000" cy="4685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6517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164349"/>
          </a:xfrm>
        </p:spPr>
        <p:txBody>
          <a:bodyPr>
            <a:normAutofit/>
          </a:bodyPr>
          <a:lstStyle/>
          <a:p>
            <a:r>
              <a:rPr lang="de-AT" dirty="0"/>
              <a:t>Einzelreferenz, !!es fehlt</a:t>
            </a:r>
            <a:br>
              <a:rPr lang="de-AT" dirty="0"/>
            </a:br>
            <a:r>
              <a:rPr lang="de-AT" dirty="0"/>
              <a:t>die </a:t>
            </a:r>
            <a:r>
              <a:rPr lang="de-AT" dirty="0" err="1"/>
              <a:t>Referenzcollection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/>
              <a:t>von User zu Review</a:t>
            </a:r>
          </a:p>
          <a:p>
            <a:r>
              <a:rPr lang="de-AT" dirty="0"/>
              <a:t>Fragen wie „zeige Reviews des Users Barney“ kann man ausgehend von User NICHT beantworten</a:t>
            </a:r>
          </a:p>
          <a:p>
            <a:r>
              <a:rPr lang="de-AT" dirty="0"/>
              <a:t>Aber problemlos ausgehend von Review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dirty="0"/>
          </a:p>
          <a:p>
            <a:r>
              <a:rPr lang="de-AT" dirty="0"/>
              <a:t>Damit kann man Fragen 1-5 beantworte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577643F-DE12-4FE1-9B54-AF96A8F5F3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1181" y="1133540"/>
            <a:ext cx="4428571" cy="141904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A2A02FB-326C-487E-B11F-C944F7B1A8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324" y="3974885"/>
            <a:ext cx="7085714" cy="14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676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err="1"/>
              <a:t>Referenzcollections</a:t>
            </a:r>
            <a:r>
              <a:rPr lang="de-AT" dirty="0"/>
              <a:t>, verbinden z.B. ein Book genau mit den richtigen Autoren 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dirty="0"/>
          </a:p>
          <a:p>
            <a:r>
              <a:rPr lang="de-AT" dirty="0"/>
              <a:t>Versuche dieser Art scheiter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76BFDF7-85D9-4D54-8E7A-2E4E725C87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766" y="2060848"/>
            <a:ext cx="7590476" cy="2400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8E0027E-169C-49D7-B21B-F25ADF78CF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1047" y="5198058"/>
            <a:ext cx="7561905" cy="8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8156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ebe die Bücher mit den Reviews aus, verwende</a:t>
            </a:r>
            <a:br>
              <a:rPr lang="de-AT" dirty="0"/>
            </a:br>
            <a:endParaRPr lang="de-AT" sz="400" dirty="0"/>
          </a:p>
          <a:p>
            <a:r>
              <a:rPr lang="de-AT" dirty="0"/>
              <a:t>Lösung ähnlich Datenbank, Buch mehrzeilig ausgeben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sz="1200" dirty="0"/>
          </a:p>
          <a:p>
            <a:r>
              <a:rPr lang="de-AT" dirty="0"/>
              <a:t>Lösung OO artig, die Reviews als </a:t>
            </a:r>
            <a:r>
              <a:rPr lang="de-AT" dirty="0" err="1"/>
              <a:t>Subcollection</a:t>
            </a: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E3BAF98-CE85-4EA4-95BE-6C54858D72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4618" y="1045209"/>
            <a:ext cx="952381" cy="57142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9391935-BD81-4BE2-88FF-5189147668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571" y="2155344"/>
            <a:ext cx="7542857" cy="1219048"/>
          </a:xfrm>
          <a:prstGeom prst="rect">
            <a:avLst/>
          </a:prstGeom>
        </p:spPr>
      </p:pic>
      <p:pic>
        <p:nvPicPr>
          <p:cNvPr id="1026" name="Picture 2" descr="C:\Users\psad\AppData\Local\Temp\SNAGHTML4d897b39.PNG">
            <a:extLst>
              <a:ext uri="{FF2B5EF4-FFF2-40B4-BE49-F238E27FC236}">
                <a16:creationId xmlns:a16="http://schemas.microsoft.com/office/drawing/2014/main" id="{68590E97-7988-492E-9112-2A79497BF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2876811"/>
            <a:ext cx="3321359" cy="1076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099204F-E166-4FE1-B0BF-C78543CB7E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2369" y="4194887"/>
            <a:ext cx="7609524" cy="69523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51D0A52-E399-43F7-A8B4-C7ED48FEE1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107" y="4967603"/>
            <a:ext cx="5323809" cy="1238095"/>
          </a:xfrm>
          <a:prstGeom prst="rect">
            <a:avLst/>
          </a:prstGeom>
        </p:spPr>
      </p:pic>
      <p:pic>
        <p:nvPicPr>
          <p:cNvPr id="1028" name="Picture 4" descr="C:\Users\psad\AppData\Local\Temp\SNAGHTML4d909055.PNG">
            <a:extLst>
              <a:ext uri="{FF2B5EF4-FFF2-40B4-BE49-F238E27FC236}">
                <a16:creationId xmlns:a16="http://schemas.microsoft.com/office/drawing/2014/main" id="{C644721E-C7F9-48F5-92FC-91EAC92B4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6595" y="5311005"/>
            <a:ext cx="3336045" cy="1126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60636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ebe die Bücher mit den Reviews aus, verwende</a:t>
            </a:r>
            <a:br>
              <a:rPr lang="de-AT" dirty="0"/>
            </a:br>
            <a:r>
              <a:rPr lang="de-AT" dirty="0"/>
              <a:t>aber nur jene mit Rating = 2</a:t>
            </a:r>
            <a:br>
              <a:rPr lang="de-AT" dirty="0"/>
            </a:br>
            <a:endParaRPr lang="de-AT" sz="400" dirty="0"/>
          </a:p>
          <a:p>
            <a:r>
              <a:rPr lang="de-AT" dirty="0"/>
              <a:t>Lösung ähnlich Datenbank, Buch mehrzeilig ausgeben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sz="1200" dirty="0"/>
          </a:p>
          <a:p>
            <a:r>
              <a:rPr lang="de-AT" dirty="0"/>
              <a:t>Lösung OO artig, die Reviews als </a:t>
            </a:r>
            <a:r>
              <a:rPr lang="de-AT" dirty="0" err="1"/>
              <a:t>Subcollection</a:t>
            </a: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E3BAF98-CE85-4EA4-95BE-6C54858D72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4618" y="1045209"/>
            <a:ext cx="952381" cy="57142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3D06649-3BBC-4283-83F2-300D515DC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584" y="2708920"/>
            <a:ext cx="5085714" cy="115238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2C49FDA-5ECC-4144-95D5-CA7A1025DE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568" y="4613683"/>
            <a:ext cx="6590476" cy="15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634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notwendige Spracherweiterun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sz="3200" b="1" dirty="0" err="1">
                <a:solidFill>
                  <a:srgbClr val="FF0000"/>
                </a:solidFill>
              </a:rPr>
              <a:t>var</a:t>
            </a:r>
            <a:r>
              <a:rPr lang="de-AT" sz="2400" dirty="0"/>
              <a:t> </a:t>
            </a:r>
            <a:r>
              <a:rPr lang="de-AT" dirty="0"/>
              <a:t>– der Compiler ermittelt den Datentyp der  			    Variable (wenn er kann)  Type </a:t>
            </a:r>
            <a:r>
              <a:rPr lang="de-AT" dirty="0" err="1"/>
              <a:t>Inference</a:t>
            </a:r>
            <a:r>
              <a:rPr lang="de-AT" dirty="0"/>
              <a:t>.</a:t>
            </a:r>
          </a:p>
          <a:p>
            <a:r>
              <a:rPr lang="de-AT" sz="3200" b="1" dirty="0">
                <a:solidFill>
                  <a:srgbClr val="FF0000"/>
                </a:solidFill>
              </a:rPr>
              <a:t>Erweiterungsmethoden (Extension Methods) </a:t>
            </a:r>
            <a:r>
              <a:rPr lang="de-AT" dirty="0"/>
              <a:t>die Möglichkeit zu bestehenden Klassen neue Methoden hinzuzufügen – WICHTIG!</a:t>
            </a:r>
          </a:p>
          <a:p>
            <a:r>
              <a:rPr lang="de-AT" sz="3200" b="1" dirty="0">
                <a:solidFill>
                  <a:srgbClr val="FF0000"/>
                </a:solidFill>
              </a:rPr>
              <a:t>Lambda </a:t>
            </a:r>
            <a:r>
              <a:rPr lang="de-AT" sz="3200" b="1" dirty="0" err="1">
                <a:solidFill>
                  <a:srgbClr val="FF0000"/>
                </a:solidFill>
              </a:rPr>
              <a:t>Expressions</a:t>
            </a:r>
            <a:r>
              <a:rPr lang="de-AT" sz="3200" b="1" dirty="0">
                <a:solidFill>
                  <a:srgbClr val="FF0000"/>
                </a:solidFill>
              </a:rPr>
              <a:t> </a:t>
            </a:r>
            <a:r>
              <a:rPr lang="de-AT" dirty="0"/>
              <a:t>– schreibe eine</a:t>
            </a:r>
            <a:br>
              <a:rPr lang="de-AT" dirty="0"/>
            </a:br>
            <a:r>
              <a:rPr lang="de-AT" dirty="0"/>
              <a:t>                 (konstante) Methode kurz und elegant</a:t>
            </a:r>
          </a:p>
          <a:p>
            <a:r>
              <a:rPr lang="de-AT" sz="3200" b="1" dirty="0" err="1">
                <a:solidFill>
                  <a:srgbClr val="FF0000"/>
                </a:solidFill>
              </a:rPr>
              <a:t>Object</a:t>
            </a:r>
            <a:r>
              <a:rPr lang="de-AT" sz="3200" b="1" dirty="0">
                <a:solidFill>
                  <a:srgbClr val="FF0000"/>
                </a:solidFill>
              </a:rPr>
              <a:t> </a:t>
            </a:r>
            <a:r>
              <a:rPr lang="de-AT" sz="3200" b="1" dirty="0" err="1">
                <a:solidFill>
                  <a:srgbClr val="FF0000"/>
                </a:solidFill>
              </a:rPr>
              <a:t>Initializers</a:t>
            </a:r>
            <a:r>
              <a:rPr lang="de-AT" sz="3200" b="1" dirty="0">
                <a:solidFill>
                  <a:srgbClr val="FF0000"/>
                </a:solidFill>
              </a:rPr>
              <a:t> </a:t>
            </a:r>
            <a:r>
              <a:rPr lang="de-AT" dirty="0"/>
              <a:t>– initialisiere mit  { … } </a:t>
            </a:r>
          </a:p>
          <a:p>
            <a:r>
              <a:rPr lang="de-AT" sz="3200" b="1" dirty="0">
                <a:solidFill>
                  <a:srgbClr val="FF0000"/>
                </a:solidFill>
              </a:rPr>
              <a:t>Anonymous </a:t>
            </a:r>
            <a:r>
              <a:rPr lang="de-AT" sz="3200" b="1" dirty="0" err="1">
                <a:solidFill>
                  <a:srgbClr val="FF0000"/>
                </a:solidFill>
              </a:rPr>
              <a:t>Types</a:t>
            </a:r>
            <a:r>
              <a:rPr lang="de-AT" sz="3200" b="1" dirty="0">
                <a:solidFill>
                  <a:srgbClr val="FF0000"/>
                </a:solidFill>
              </a:rPr>
              <a:t> </a:t>
            </a:r>
            <a:r>
              <a:rPr lang="de-AT" dirty="0"/>
              <a:t>– Instanzen ohne Klasse 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95588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Zählen, summieren, … </a:t>
            </a:r>
          </a:p>
          <a:p>
            <a:r>
              <a:rPr lang="de-AT" dirty="0"/>
              <a:t>Wie viele Reviews hat ein Buch (ist schon gespeichert)</a:t>
            </a:r>
            <a:br>
              <a:rPr lang="de-AT" dirty="0"/>
            </a:br>
            <a:br>
              <a:rPr lang="de-AT" dirty="0"/>
            </a:br>
            <a:endParaRPr lang="de-AT" dirty="0"/>
          </a:p>
          <a:p>
            <a:r>
              <a:rPr lang="de-AT" dirty="0"/>
              <a:t>Die Anzahl der zu zählenden Elemente in einem </a:t>
            </a:r>
            <a:br>
              <a:rPr lang="de-AT" dirty="0"/>
            </a:br>
            <a:r>
              <a:rPr lang="de-AT" dirty="0"/>
              <a:t>geschachteltem </a:t>
            </a:r>
            <a:r>
              <a:rPr lang="de-AT" dirty="0" err="1"/>
              <a:t>Linq</a:t>
            </a:r>
            <a:r>
              <a:rPr lang="de-AT" dirty="0"/>
              <a:t>-Statement ermitteln</a:t>
            </a:r>
            <a:br>
              <a:rPr lang="de-AT" dirty="0"/>
            </a:br>
            <a:r>
              <a:rPr lang="de-AT"/>
              <a:t>                            Wie viele </a:t>
            </a:r>
            <a:r>
              <a:rPr lang="de-AT" dirty="0"/>
              <a:t>Bücher hat jeder Publisher</a:t>
            </a:r>
          </a:p>
          <a:p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8535801-4B4E-43E3-A16B-63E9713337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856" y="2132856"/>
            <a:ext cx="8428571" cy="76190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1D16FC6-A2B7-42E0-9A68-ED60530FE1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856" y="4293096"/>
            <a:ext cx="8352381" cy="208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8438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ruppierung ist aber die mächtigste Lösung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r>
              <a:rPr lang="de-AT" dirty="0"/>
              <a:t> </a:t>
            </a:r>
            <a:br>
              <a:rPr lang="de-AT" dirty="0"/>
            </a:br>
            <a:endParaRPr lang="de-AT" dirty="0"/>
          </a:p>
          <a:p>
            <a:r>
              <a:rPr lang="de-AT" dirty="0"/>
              <a:t>Ausgabezeile pro gebildeter Gruppe: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F0D54E0-3D7B-4257-AB34-ABAA2EC57D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731" y="1628800"/>
            <a:ext cx="4752381" cy="160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C45FC9A-3FE8-4B98-B642-CB3F373BD0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1876619"/>
            <a:ext cx="3268107" cy="155238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4FB2242-7008-4986-A221-64E14C7F9B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3426" y="3890703"/>
            <a:ext cx="7409524" cy="25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6781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ruppierung erfolgt über Gruppenwechselfelder  (</a:t>
            </a:r>
            <a:r>
              <a:rPr lang="de-AT" dirty="0" err="1">
                <a:solidFill>
                  <a:srgbClr val="FF0000"/>
                </a:solidFill>
              </a:rPr>
              <a:t>by</a:t>
            </a:r>
            <a:r>
              <a:rPr lang="de-AT" dirty="0"/>
              <a:t>)</a:t>
            </a:r>
          </a:p>
          <a:p>
            <a:r>
              <a:rPr lang="de-AT" dirty="0"/>
              <a:t>Beliebige Detaildaten nach </a:t>
            </a:r>
            <a:r>
              <a:rPr lang="de-AT" dirty="0" err="1">
                <a:solidFill>
                  <a:srgbClr val="FF0000"/>
                </a:solidFill>
              </a:rPr>
              <a:t>group</a:t>
            </a:r>
            <a:r>
              <a:rPr lang="de-AT" dirty="0"/>
              <a:t> angeben</a:t>
            </a:r>
          </a:p>
          <a:p>
            <a:r>
              <a:rPr lang="de-AT" dirty="0"/>
              <a:t>Ergebnis ist ein Collection mit einer Zeile pro </a:t>
            </a:r>
            <a:r>
              <a:rPr lang="de-AT" dirty="0" err="1"/>
              <a:t>by</a:t>
            </a:r>
            <a:r>
              <a:rPr lang="de-AT" dirty="0"/>
              <a:t> …</a:t>
            </a:r>
            <a:br>
              <a:rPr lang="de-AT" dirty="0"/>
            </a:br>
            <a:r>
              <a:rPr lang="de-AT" dirty="0"/>
              <a:t>Inhalt der Zeile ist eine </a:t>
            </a:r>
            <a:r>
              <a:rPr lang="de-AT" dirty="0" err="1"/>
              <a:t>Subcollection</a:t>
            </a:r>
            <a:r>
              <a:rPr lang="de-AT" dirty="0"/>
              <a:t> der Detaildate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67192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en-US" dirty="0"/>
              <a:t>Language Integrated Query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G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36613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7416824" cy="1282154"/>
          </a:xfrm>
        </p:spPr>
        <p:txBody>
          <a:bodyPr>
            <a:normAutofit/>
          </a:bodyPr>
          <a:lstStyle/>
          <a:p>
            <a:r>
              <a:rPr lang="de-AT" dirty="0"/>
              <a:t>Ab hier Folien einer alte Version</a:t>
            </a:r>
          </a:p>
        </p:txBody>
      </p:sp>
      <p:pic>
        <p:nvPicPr>
          <p:cNvPr id="4" name="Picture 2" descr="http://www.hcs.harvard.edu/csharp/Logo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1556792"/>
            <a:ext cx="4572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1429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de-AT" dirty="0" err="1"/>
              <a:t>v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err="1"/>
              <a:t>var</a:t>
            </a:r>
            <a:r>
              <a:rPr lang="de-AT" dirty="0"/>
              <a:t> beauftragt den Compiler, den Typ einer Variable eindeutig festzulegen (z.B. beim </a:t>
            </a:r>
            <a:r>
              <a:rPr lang="de-AT" dirty="0" err="1"/>
              <a:t>initaliseren</a:t>
            </a:r>
            <a:r>
              <a:rPr lang="de-AT" dirty="0"/>
              <a:t>),</a:t>
            </a:r>
            <a:br>
              <a:rPr lang="de-AT" dirty="0"/>
            </a:br>
            <a:r>
              <a:rPr lang="de-AT" dirty="0"/>
              <a:t>misslingt dies, dann gibt es einen Syntaxfehler</a:t>
            </a:r>
          </a:p>
          <a:p>
            <a:r>
              <a:rPr lang="de-AT" dirty="0"/>
              <a:t>Strenge Typisierung bleibt erhalten!!</a:t>
            </a:r>
          </a:p>
          <a:p>
            <a:r>
              <a:rPr lang="de-AT" dirty="0"/>
              <a:t>Nicht funktionieren wird:</a:t>
            </a:r>
            <a:br>
              <a:rPr lang="de-AT" dirty="0"/>
            </a:b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695B9E0-CE4F-46A7-AC1E-AD5C17540D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718" y="3501007"/>
            <a:ext cx="7964958" cy="2625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370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de-AT" dirty="0" err="1"/>
              <a:t>var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Erfolgreiche „Type </a:t>
            </a:r>
            <a:r>
              <a:rPr lang="de-AT" dirty="0" err="1"/>
              <a:t>inference</a:t>
            </a:r>
            <a:r>
              <a:rPr lang="de-AT" dirty="0"/>
              <a:t>“ bei:</a:t>
            </a:r>
            <a:br>
              <a:rPr lang="de-AT" dirty="0"/>
            </a:b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5D427C6-EF79-4807-813A-8541B5484D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521" y="1628799"/>
            <a:ext cx="8249713" cy="4285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888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de-AT" b="1" dirty="0">
                <a:solidFill>
                  <a:srgbClr val="FF0000"/>
                </a:solidFill>
              </a:rPr>
              <a:t>Extension Methods</a:t>
            </a:r>
            <a:endParaRPr lang="de-AT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Spezielle </a:t>
            </a:r>
            <a:r>
              <a:rPr lang="de-AT" dirty="0" err="1"/>
              <a:t>static</a:t>
            </a:r>
            <a:r>
              <a:rPr lang="de-AT" dirty="0"/>
              <a:t> Syntax ermöglicht späteres Hinzufügen neuer Methoden zu Klassen, </a:t>
            </a:r>
            <a:r>
              <a:rPr lang="de-AT" dirty="0" err="1"/>
              <a:t>Structs</a:t>
            </a:r>
            <a:r>
              <a:rPr lang="de-AT" dirty="0"/>
              <a:t>, Interfaces</a:t>
            </a:r>
          </a:p>
          <a:p>
            <a:r>
              <a:rPr lang="de-AT" dirty="0"/>
              <a:t>z.B. Reverse() Methode zur String Klasse hinzufügen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D25577D-88E0-429D-BA4B-47E6B0E23B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2679" y="2564904"/>
            <a:ext cx="2215784" cy="184476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3FA44B5-69DB-4B28-A4E1-2417813E9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2680" y="4797705"/>
            <a:ext cx="2215784" cy="151161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A614A5D-0F99-4525-A11F-3D0D8AD0AA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528" y="2556867"/>
            <a:ext cx="5933980" cy="343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835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Erweitern der  List&lt;T&gt; Collection</a:t>
            </a:r>
            <a:br>
              <a:rPr lang="de-AT" dirty="0"/>
            </a:br>
            <a:endParaRPr lang="de-AT" dirty="0"/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C3F094D-566E-4FC9-B7E0-7D07884D50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750" y="1746370"/>
            <a:ext cx="7923809" cy="45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9906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Lambda Expressi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Kurze Schreibweise für kleine Methoden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sz="2000" dirty="0"/>
          </a:p>
          <a:p>
            <a:r>
              <a:rPr lang="de-AT" dirty="0"/>
              <a:t>2 Parameter mit ( )</a:t>
            </a:r>
            <a:br>
              <a:rPr lang="de-AT" dirty="0"/>
            </a:br>
            <a:br>
              <a:rPr lang="de-AT" dirty="0"/>
            </a:br>
            <a:endParaRPr lang="de-AT" sz="1100" dirty="0"/>
          </a:p>
          <a:p>
            <a:r>
              <a:rPr lang="de-AT" dirty="0"/>
              <a:t>Mehr als eine Codezeile ist unpraktisch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C1D287C-14F1-4847-90B9-E3A84F1439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1596815"/>
            <a:ext cx="6295238" cy="203809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61DDD8A-3F01-45F3-973E-6940526B00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576" y="4176714"/>
            <a:ext cx="7019048" cy="56190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F8716B1-6E85-4872-A80C-D076579819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576" y="5280423"/>
            <a:ext cx="6838095" cy="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151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</a:t>
            </a:r>
            <a:r>
              <a:rPr lang="de-AT" dirty="0" err="1"/>
              <a:t>Object</a:t>
            </a:r>
            <a:r>
              <a:rPr lang="de-AT" dirty="0"/>
              <a:t> </a:t>
            </a:r>
            <a:r>
              <a:rPr lang="de-AT" dirty="0" err="1"/>
              <a:t>Initializers</a:t>
            </a:r>
            <a:r>
              <a:rPr lang="de-AT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Ersetzt praktisch unterschiedliche Konstruktoren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dirty="0"/>
          </a:p>
          <a:p>
            <a:r>
              <a:rPr lang="de-AT" dirty="0"/>
              <a:t>Auch bei Collections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C9A469A-DCE4-4FF5-975B-4FE15D456B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1718851"/>
            <a:ext cx="7809524" cy="200952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019D852-5EA2-4686-BD45-76F1F70803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584" y="4312983"/>
            <a:ext cx="6714286" cy="122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076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inq</a:t>
            </a:r>
            <a:r>
              <a:rPr lang="de-AT" dirty="0"/>
              <a:t> – Anonymous </a:t>
            </a:r>
            <a:r>
              <a:rPr lang="de-AT" dirty="0" err="1"/>
              <a:t>Types</a:t>
            </a:r>
            <a:r>
              <a:rPr lang="de-AT" dirty="0"/>
              <a:t>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OS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Instanzen anlegen ohne vorher Klassen zu definieren</a:t>
            </a:r>
            <a:br>
              <a:rPr lang="de-AT" dirty="0"/>
            </a:br>
            <a:r>
              <a:rPr lang="de-AT" dirty="0"/>
              <a:t>nur möglich mit </a:t>
            </a:r>
            <a:r>
              <a:rPr lang="de-AT" dirty="0" err="1"/>
              <a:t>Objektinitialisierer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/>
              <a:t>(dieser legt Property Namen, Typ und Wert fest)</a:t>
            </a:r>
          </a:p>
        </p:txBody>
      </p:sp>
      <p:pic>
        <p:nvPicPr>
          <p:cNvPr id="6" name="Picture 2" descr="C:\Users\psad\AppData\Local\Temp\SNAGHTML24f0542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360846"/>
            <a:ext cx="7048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FB22EAB-6F37-49CE-8A43-E34E309786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592" y="2551734"/>
            <a:ext cx="6400000" cy="36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534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458</Words>
  <Application>Microsoft Office PowerPoint</Application>
  <PresentationFormat>Bildschirmpräsentation (4:3)</PresentationFormat>
  <Paragraphs>272</Paragraphs>
  <Slides>24</Slides>
  <Notes>2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7" baseType="lpstr">
      <vt:lpstr>Arial</vt:lpstr>
      <vt:lpstr>Calibri</vt:lpstr>
      <vt:lpstr>HTL Spengergasse Vorlage V01</vt:lpstr>
      <vt:lpstr>POS –  Linq Language Integrated Query</vt:lpstr>
      <vt:lpstr>Linq – notwendige Spracherweiterungen</vt:lpstr>
      <vt:lpstr>Linq – var</vt:lpstr>
      <vt:lpstr>Linq – var</vt:lpstr>
      <vt:lpstr>Linq – Extension Methods</vt:lpstr>
      <vt:lpstr>Linq –</vt:lpstr>
      <vt:lpstr>Linq – Lambda Expression</vt:lpstr>
      <vt:lpstr>Linq – Object Initializers </vt:lpstr>
      <vt:lpstr>Linq – Anonymous Types 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Linq – Language Integrated Query</vt:lpstr>
      <vt:lpstr>Ab hier Folien einer alte Version</vt:lpstr>
    </vt:vector>
  </TitlesOfParts>
  <Company>ho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Johann Preissl</cp:lastModifiedBy>
  <cp:revision>271</cp:revision>
  <dcterms:created xsi:type="dcterms:W3CDTF">2010-09-09T10:26:00Z</dcterms:created>
  <dcterms:modified xsi:type="dcterms:W3CDTF">2019-10-07T16:36:12Z</dcterms:modified>
</cp:coreProperties>
</file>